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B20B6-8E9E-2BC4-27DB-526A440809DC}" v="144" dt="2022-06-15T04:23:45.77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6" d="100"/>
          <a:sy n="76" d="100"/>
        </p:scale>
        <p:origin x="898"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Uday Kumar" userId="S::uday-kumar.s@capgemini.com::11713fce-0ca4-448c-93c3-24176b34016f" providerId="AD" clId="Web-{0D8B20B6-8E9E-2BC4-27DB-526A440809DC}"/>
    <pc:docChg chg="modSld">
      <pc:chgData name="S, Uday Kumar" userId="S::uday-kumar.s@capgemini.com::11713fce-0ca4-448c-93c3-24176b34016f" providerId="AD" clId="Web-{0D8B20B6-8E9E-2BC4-27DB-526A440809DC}" dt="2022-06-15T04:23:43.992" v="89" actId="20577"/>
      <pc:docMkLst>
        <pc:docMk/>
      </pc:docMkLst>
      <pc:sldChg chg="modSp">
        <pc:chgData name="S, Uday Kumar" userId="S::uday-kumar.s@capgemini.com::11713fce-0ca4-448c-93c3-24176b34016f" providerId="AD" clId="Web-{0D8B20B6-8E9E-2BC4-27DB-526A440809DC}" dt="2022-06-15T04:23:43.992" v="89" actId="20577"/>
        <pc:sldMkLst>
          <pc:docMk/>
          <pc:sldMk cId="0" sldId="1989"/>
        </pc:sldMkLst>
        <pc:spChg chg="mod">
          <ac:chgData name="S, Uday Kumar" userId="S::uday-kumar.s@capgemini.com::11713fce-0ca4-448c-93c3-24176b34016f" providerId="AD" clId="Web-{0D8B20B6-8E9E-2BC4-27DB-526A440809DC}" dt="2022-06-15T04:21:52.188" v="80" actId="20577"/>
          <ac:spMkLst>
            <pc:docMk/>
            <pc:sldMk cId="0" sldId="1989"/>
            <ac:spMk id="5" creationId="{00000000-0000-0000-0000-000000000000}"/>
          </ac:spMkLst>
        </pc:spChg>
        <pc:spChg chg="mod">
          <ac:chgData name="S, Uday Kumar" userId="S::uday-kumar.s@capgemini.com::11713fce-0ca4-448c-93c3-24176b34016f" providerId="AD" clId="Web-{0D8B20B6-8E9E-2BC4-27DB-526A440809DC}" dt="2022-06-15T04:22:16.346" v="83" actId="20577"/>
          <ac:spMkLst>
            <pc:docMk/>
            <pc:sldMk cId="0" sldId="1989"/>
            <ac:spMk id="7170" creationId="{00000000-0000-0000-0000-000000000000}"/>
          </ac:spMkLst>
        </pc:spChg>
        <pc:spChg chg="mod">
          <ac:chgData name="S, Uday Kumar" userId="S::uday-kumar.s@capgemini.com::11713fce-0ca4-448c-93c3-24176b34016f" providerId="AD" clId="Web-{0D8B20B6-8E9E-2BC4-27DB-526A440809DC}" dt="2022-06-15T04:23:43.992" v="89" actId="20577"/>
          <ac:spMkLst>
            <pc:docMk/>
            <pc:sldMk cId="0" sldId="1989"/>
            <ac:spMk id="7173" creationId="{00000000-0000-0000-0000-000000000000}"/>
          </ac:spMkLst>
        </pc:spChg>
        <pc:picChg chg="mod">
          <ac:chgData name="S, Uday Kumar" userId="S::uday-kumar.s@capgemini.com::11713fce-0ca4-448c-93c3-24176b34016f" providerId="AD" clId="Web-{0D8B20B6-8E9E-2BC4-27DB-526A440809DC}" dt="2022-06-15T04:23:18.350" v="87" actId="14100"/>
          <ac:picMkLst>
            <pc:docMk/>
            <pc:sldMk cId="0" sldId="1989"/>
            <ac:picMk id="11" creationId="{DD76C41C-CDAE-0B31-A2F4-B61AFECC0F01}"/>
          </ac:picMkLst>
        </pc:picChg>
        <pc:picChg chg="mod">
          <ac:chgData name="S, Uday Kumar" userId="S::uday-kumar.s@capgemini.com::11713fce-0ca4-448c-93c3-24176b34016f" providerId="AD" clId="Web-{0D8B20B6-8E9E-2BC4-27DB-526A440809DC}" dt="2022-06-15T04:22:12.815" v="81" actId="1076"/>
          <ac:picMkLst>
            <pc:docMk/>
            <pc:sldMk cId="0" sldId="1989"/>
            <ac:picMk id="7179"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file/d/1pL-i-G3HuMptTrhj5YKN-GB-6IR7rE8p/view?usp=sharing" TargetMode="External"/><Relationship Id="rId7"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AbhiroopJana"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588574690"/>
              </p:ext>
            </p:extLst>
          </p:nvPr>
        </p:nvGraphicFramePr>
        <p:xfrm>
          <a:off x="9241790" y="1585723"/>
          <a:ext cx="2971800" cy="4147388"/>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Collections</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ith MVC5 and</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EB API, Entity</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Framework</a:t>
                      </a:r>
                    </a:p>
                  </a:txBody>
                  <a:tcPr/>
                </a:tc>
                <a:extLst>
                  <a:ext uri="{0D108BD9-81ED-4DB2-BD59-A6C34878D82A}">
                    <a16:rowId xmlns:a16="http://schemas.microsoft.com/office/drawing/2014/main" val="236619847"/>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POSTMAN,</a:t>
                      </a:r>
                    </a:p>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Swagger</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3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 , Microsoft Office.</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a:t>
            </a:r>
            <a:r>
              <a:rPr lang="en-US" sz="1200" dirty="0">
                <a:solidFill>
                  <a:srgbClr val="242424"/>
                </a:solidFill>
                <a:latin typeface="Times New Roman"/>
                <a:ea typeface="Times New Roman" panose="02020603050405020304" pitchFamily="18" charset="0"/>
                <a:cs typeface="Times New Roman"/>
              </a:rPr>
              <a:t>can easily book a car service from the comfort of his doorstep </a:t>
            </a:r>
            <a:r>
              <a:rPr lang="en-US" sz="1200" dirty="0">
                <a:solidFill>
                  <a:srgbClr val="242424"/>
                </a:solidFill>
                <a:effectLst/>
                <a:latin typeface="Times New Roman"/>
                <a:ea typeface="Times New Roman" panose="02020603050405020304" pitchFamily="18" charset="0"/>
                <a:cs typeface="Times New Roman"/>
              </a:rPr>
              <a:t>.This project will be beneficial for those people who don’t want to go to the garage. It is an easy and time saving System. This online system provides home delivery of car wash service for that users have needs to register in this System. Then the user can choose the services available can also set the date and location of the service . Accordingly a washer will come to his location and will provide the service.</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sz="1200" b="1" dirty="0">
                <a:solidFill>
                  <a:srgbClr val="242424"/>
                </a:solidFill>
                <a:latin typeface="Times New Roman"/>
                <a:cs typeface="Times New Roman"/>
              </a:rPr>
              <a:t>Technologies used</a:t>
            </a:r>
            <a:r>
              <a:rPr lang="en-US" dirty="0">
                <a:solidFill>
                  <a:srgbClr val="242424"/>
                </a:solidFill>
                <a:latin typeface="Times New Roman"/>
                <a:cs typeface="Times New Roman"/>
              </a:rPr>
              <a:t>:</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ea typeface="+mj-lt"/>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5"/>
              </a:rPr>
              <a:t>GitHub Link  </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6010" y="1092459"/>
            <a:ext cx="2374900" cy="203200"/>
          </a:xfrm>
        </p:spPr>
        <p:txBody>
          <a:bodyPr/>
          <a:lstStyle/>
          <a:p>
            <a:pPr eaLnBrk="1" hangingPunct="1"/>
            <a:endParaRPr lang="nl-NL" altLang="nl-NL" dirty="0"/>
          </a:p>
          <a:p>
            <a:pPr eaLnBrk="1" hangingPunct="1"/>
            <a:r>
              <a:rPr lang="nl-NL" altLang="nl-NL" dirty="0"/>
              <a:t>Bangalore</a:t>
            </a:r>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abhiroop.jana@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11605780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SP.NET MVC with WEB API , LINQ , Entity Framework</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marL="171450" indent="-171450">
              <a:buFont typeface="Arial" panose="020B0604020202020204" pitchFamily="34" charset="0"/>
              <a:buChar char="•"/>
            </a:pPr>
            <a:r>
              <a:rPr lang="en-US" b="0" i="0" u="none" strike="noStrike" dirty="0">
                <a:solidFill>
                  <a:srgbClr val="000000"/>
                </a:solidFill>
                <a:effectLst/>
              </a:rPr>
              <a:t>Experience in creating documentation with </a:t>
            </a:r>
            <a:r>
              <a:rPr lang="en-US" b="1" i="0" u="none" strike="noStrike" dirty="0">
                <a:solidFill>
                  <a:srgbClr val="000000"/>
                </a:solidFill>
                <a:effectLst/>
              </a:rPr>
              <a:t>Swagger </a:t>
            </a:r>
            <a:r>
              <a:rPr lang="en-US" b="0" i="0" u="none" strike="noStrike" dirty="0">
                <a:solidFill>
                  <a:srgbClr val="000000"/>
                </a:solidFill>
                <a:effectLst/>
              </a:rPr>
              <a:t>and </a:t>
            </a:r>
            <a:r>
              <a:rPr lang="en-US" b="1" i="0" u="none" strike="noStrike" dirty="0">
                <a:solidFill>
                  <a:srgbClr val="000000"/>
                </a:solidFill>
                <a:effectLst/>
              </a:rPr>
              <a:t>Postman</a:t>
            </a:r>
            <a:endParaRPr lang="en-US" dirty="0"/>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bhiroop Jana</a:t>
            </a:r>
          </a:p>
        </p:txBody>
      </p:sp>
      <p:pic>
        <p:nvPicPr>
          <p:cNvPr id="7179" name="Picture 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601383"/>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Electronics and Communication Engineering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32265" y="1289165"/>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3" name="Picture Placeholder 12">
            <a:extLst>
              <a:ext uri="{FF2B5EF4-FFF2-40B4-BE49-F238E27FC236}">
                <a16:creationId xmlns:a16="http://schemas.microsoft.com/office/drawing/2014/main" id="{81699133-A670-BE89-7EA5-2736D0A8EC68}"/>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1346" b="11346"/>
          <a:stretch>
            <a:fillRect/>
          </a:stretch>
        </p:blipFill>
        <p:spPr>
          <a:xfrm>
            <a:off x="377826" y="245576"/>
            <a:ext cx="1734208" cy="1732607"/>
          </a:xfrm>
        </p:spPr>
      </p:pic>
      <p:sp>
        <p:nvSpPr>
          <p:cNvPr id="14" name="Text Placeholder 1">
            <a:extLst>
              <a:ext uri="{FF2B5EF4-FFF2-40B4-BE49-F238E27FC236}">
                <a16:creationId xmlns:a16="http://schemas.microsoft.com/office/drawing/2014/main" id="{AA3D98B6-A524-F259-5F0B-1ED180177F25}"/>
              </a:ext>
            </a:extLst>
          </p:cNvPr>
          <p:cNvSpPr txBox="1">
            <a:spLocks/>
          </p:cNvSpPr>
          <p:nvPr/>
        </p:nvSpPr>
        <p:spPr bwMode="white">
          <a:xfrm>
            <a:off x="2468563" y="1013154"/>
            <a:ext cx="6223000" cy="30638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100" b="1" kern="1200" baseline="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i="0" u="none" strike="noStrike" dirty="0">
                <a:solidFill>
                  <a:srgbClr val="FFFFFF"/>
                </a:solidFill>
                <a:effectLst/>
                <a:latin typeface="Verdana" panose="020B0604030504040204" pitchFamily="34" charset="0"/>
              </a:rPr>
              <a:t>I Transform L&amp;D Left shift batch</a:t>
            </a:r>
            <a:endParaRPr lang="en-US" altLang="en-IN" sz="1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41DADA9-78F6-4B45-935B-8A61C05C76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41</TotalTime>
  <Words>297</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bhiroop Jana</cp:lastModifiedBy>
  <cp:revision>160</cp:revision>
  <dcterms:created xsi:type="dcterms:W3CDTF">2020-09-22T06:24:00Z</dcterms:created>
  <dcterms:modified xsi:type="dcterms:W3CDTF">2023-01-11T15:4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